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6.bin" ContentType="image/unknown"/>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56" r:id="rId5"/>
    <p:sldId id="2147375589" r:id="rId6"/>
    <p:sldId id="4848" r:id="rId7"/>
    <p:sldId id="2147375597" r:id="rId8"/>
    <p:sldId id="2147375600" r:id="rId9"/>
    <p:sldId id="2147375601" r:id="rId10"/>
    <p:sldId id="2147375615" r:id="rId11"/>
    <p:sldId id="2147375602" r:id="rId12"/>
    <p:sldId id="2147375603" r:id="rId13"/>
    <p:sldId id="2147375622" r:id="rId14"/>
    <p:sldId id="2147375626" r:id="rId15"/>
    <p:sldId id="2147375616" r:id="rId16"/>
    <p:sldId id="2147375606" r:id="rId17"/>
    <p:sldId id="2147375607" r:id="rId18"/>
    <p:sldId id="2147375627" r:id="rId19"/>
    <p:sldId id="2147375628" r:id="rId20"/>
    <p:sldId id="2147375629" r:id="rId21"/>
    <p:sldId id="2147375610" r:id="rId22"/>
    <p:sldId id="2147375611" r:id="rId23"/>
    <p:sldId id="2147375612" r:id="rId24"/>
    <p:sldId id="2147375613" r:id="rId25"/>
    <p:sldId id="2147375614" r:id="rId26"/>
    <p:sldId id="163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C93FB1-D795-4CAD-867A-1A5C929D12FA}" v="19" dt="2024-09-06T16:46:56.9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Mahendra SBOBNG-PTIV/IB" userId="46236ead-755c-42fd-ab80-d5097f10a71e" providerId="ADAL" clId="{CAC93FB1-D795-4CAD-867A-1A5C929D12FA}"/>
    <pc:docChg chg="undo custSel modSld">
      <pc:chgData name="Kumar, Mahendra SBOBNG-PTIV/IB" userId="46236ead-755c-42fd-ab80-d5097f10a71e" providerId="ADAL" clId="{CAC93FB1-D795-4CAD-867A-1A5C929D12FA}" dt="2024-09-06T16:46:56.920" v="681" actId="1076"/>
      <pc:docMkLst>
        <pc:docMk/>
      </pc:docMkLst>
      <pc:sldChg chg="modSp mod">
        <pc:chgData name="Kumar, Mahendra SBOBNG-PTIV/IB" userId="46236ead-755c-42fd-ab80-d5097f10a71e" providerId="ADAL" clId="{CAC93FB1-D795-4CAD-867A-1A5C929D12FA}" dt="2024-09-06T16:20:27.867" v="48" actId="20577"/>
        <pc:sldMkLst>
          <pc:docMk/>
          <pc:sldMk cId="3267775274" sldId="256"/>
        </pc:sldMkLst>
        <pc:spChg chg="mod">
          <ac:chgData name="Kumar, Mahendra SBOBNG-PTIV/IB" userId="46236ead-755c-42fd-ab80-d5097f10a71e" providerId="ADAL" clId="{CAC93FB1-D795-4CAD-867A-1A5C929D12FA}" dt="2024-09-06T16:20:27.867" v="48" actId="20577"/>
          <ac:spMkLst>
            <pc:docMk/>
            <pc:sldMk cId="3267775274" sldId="256"/>
            <ac:spMk id="12" creationId="{8A24547F-8A92-CDC5-A578-3733390534F2}"/>
          </ac:spMkLst>
        </pc:spChg>
      </pc:sldChg>
      <pc:sldChg chg="addSp delSp modSp mod">
        <pc:chgData name="Kumar, Mahendra SBOBNG-PTIV/IB" userId="46236ead-755c-42fd-ab80-d5097f10a71e" providerId="ADAL" clId="{CAC93FB1-D795-4CAD-867A-1A5C929D12FA}" dt="2024-09-06T16:46:56.920" v="681" actId="1076"/>
        <pc:sldMkLst>
          <pc:docMk/>
          <pc:sldMk cId="867832184" sldId="2147375589"/>
        </pc:sldMkLst>
        <pc:spChg chg="mod">
          <ac:chgData name="Kumar, Mahendra SBOBNG-PTIV/IB" userId="46236ead-755c-42fd-ab80-d5097f10a71e" providerId="ADAL" clId="{CAC93FB1-D795-4CAD-867A-1A5C929D12FA}" dt="2024-09-06T16:21:41.086" v="52"/>
          <ac:spMkLst>
            <pc:docMk/>
            <pc:sldMk cId="867832184" sldId="2147375589"/>
            <ac:spMk id="10" creationId="{1119CB9E-042F-11E8-F683-654626D307B3}"/>
          </ac:spMkLst>
        </pc:spChg>
        <pc:picChg chg="add mod">
          <ac:chgData name="Kumar, Mahendra SBOBNG-PTIV/IB" userId="46236ead-755c-42fd-ab80-d5097f10a71e" providerId="ADAL" clId="{CAC93FB1-D795-4CAD-867A-1A5C929D12FA}" dt="2024-09-06T16:46:56.920" v="681" actId="1076"/>
          <ac:picMkLst>
            <pc:docMk/>
            <pc:sldMk cId="867832184" sldId="2147375589"/>
            <ac:picMk id="2" creationId="{B3A9CAC1-CAC9-2F98-A870-BAA123C97FCF}"/>
          </ac:picMkLst>
        </pc:picChg>
        <pc:picChg chg="del">
          <ac:chgData name="Kumar, Mahendra SBOBNG-PTIV/IB" userId="46236ead-755c-42fd-ab80-d5097f10a71e" providerId="ADAL" clId="{CAC93FB1-D795-4CAD-867A-1A5C929D12FA}" dt="2024-09-06T16:20:51.859" v="49" actId="478"/>
          <ac:picMkLst>
            <pc:docMk/>
            <pc:sldMk cId="867832184" sldId="2147375589"/>
            <ac:picMk id="7" creationId="{16F2E17D-08F5-CD02-4659-F7307E6623B8}"/>
          </ac:picMkLst>
        </pc:picChg>
      </pc:sldChg>
      <pc:sldChg chg="addSp delSp modSp mod">
        <pc:chgData name="Kumar, Mahendra SBOBNG-PTIV/IB" userId="46236ead-755c-42fd-ab80-d5097f10a71e" providerId="ADAL" clId="{CAC93FB1-D795-4CAD-867A-1A5C929D12FA}" dt="2024-09-06T16:23:22.572" v="57"/>
        <pc:sldMkLst>
          <pc:docMk/>
          <pc:sldMk cId="245881457" sldId="2147375597"/>
        </pc:sldMkLst>
        <pc:spChg chg="mod">
          <ac:chgData name="Kumar, Mahendra SBOBNG-PTIV/IB" userId="46236ead-755c-42fd-ab80-d5097f10a71e" providerId="ADAL" clId="{CAC93FB1-D795-4CAD-867A-1A5C929D12FA}" dt="2024-09-06T16:23:13.906" v="55"/>
          <ac:spMkLst>
            <pc:docMk/>
            <pc:sldMk cId="245881457" sldId="2147375597"/>
            <ac:spMk id="11" creationId="{DE9F1BE0-7910-FA1B-DCE8-56EFD1E4FC09}"/>
          </ac:spMkLst>
        </pc:spChg>
        <pc:picChg chg="add mod">
          <ac:chgData name="Kumar, Mahendra SBOBNG-PTIV/IB" userId="46236ead-755c-42fd-ab80-d5097f10a71e" providerId="ADAL" clId="{CAC93FB1-D795-4CAD-867A-1A5C929D12FA}" dt="2024-09-06T16:23:22.572" v="57"/>
          <ac:picMkLst>
            <pc:docMk/>
            <pc:sldMk cId="245881457" sldId="2147375597"/>
            <ac:picMk id="2" creationId="{D9813156-EEF4-A78A-D6C5-AA2A0171AE00}"/>
          </ac:picMkLst>
        </pc:picChg>
        <pc:picChg chg="del">
          <ac:chgData name="Kumar, Mahendra SBOBNG-PTIV/IB" userId="46236ead-755c-42fd-ab80-d5097f10a71e" providerId="ADAL" clId="{CAC93FB1-D795-4CAD-867A-1A5C929D12FA}" dt="2024-09-06T16:23:22.080" v="56" actId="478"/>
          <ac:picMkLst>
            <pc:docMk/>
            <pc:sldMk cId="245881457" sldId="2147375597"/>
            <ac:picMk id="8" creationId="{45A6F7F2-8EF0-2BF6-1C2B-EF49D039C427}"/>
          </ac:picMkLst>
        </pc:picChg>
      </pc:sldChg>
      <pc:sldChg chg="modSp mod">
        <pc:chgData name="Kumar, Mahendra SBOBNG-PTIV/IB" userId="46236ead-755c-42fd-ab80-d5097f10a71e" providerId="ADAL" clId="{CAC93FB1-D795-4CAD-867A-1A5C929D12FA}" dt="2024-09-06T16:19:58.063" v="23" actId="20577"/>
        <pc:sldMkLst>
          <pc:docMk/>
          <pc:sldMk cId="1181112711" sldId="2147375600"/>
        </pc:sldMkLst>
        <pc:spChg chg="mod">
          <ac:chgData name="Kumar, Mahendra SBOBNG-PTIV/IB" userId="46236ead-755c-42fd-ab80-d5097f10a71e" providerId="ADAL" clId="{CAC93FB1-D795-4CAD-867A-1A5C929D12FA}" dt="2024-09-06T16:19:58.063" v="23" actId="20577"/>
          <ac:spMkLst>
            <pc:docMk/>
            <pc:sldMk cId="1181112711" sldId="2147375600"/>
            <ac:spMk id="11" creationId="{DE9F1BE0-7910-FA1B-DCE8-56EFD1E4FC09}"/>
          </ac:spMkLst>
        </pc:spChg>
      </pc:sldChg>
      <pc:sldChg chg="modSp mod">
        <pc:chgData name="Kumar, Mahendra SBOBNG-PTIV/IB" userId="46236ead-755c-42fd-ab80-d5097f10a71e" providerId="ADAL" clId="{CAC93FB1-D795-4CAD-867A-1A5C929D12FA}" dt="2024-09-06T16:24:19.325" v="61" actId="313"/>
        <pc:sldMkLst>
          <pc:docMk/>
          <pc:sldMk cId="3233747587" sldId="2147375601"/>
        </pc:sldMkLst>
        <pc:spChg chg="mod">
          <ac:chgData name="Kumar, Mahendra SBOBNG-PTIV/IB" userId="46236ead-755c-42fd-ab80-d5097f10a71e" providerId="ADAL" clId="{CAC93FB1-D795-4CAD-867A-1A5C929D12FA}" dt="2024-09-06T16:24:19.325" v="61" actId="313"/>
          <ac:spMkLst>
            <pc:docMk/>
            <pc:sldMk cId="3233747587" sldId="2147375601"/>
            <ac:spMk id="11" creationId="{DE9F1BE0-7910-FA1B-DCE8-56EFD1E4FC09}"/>
          </ac:spMkLst>
        </pc:spChg>
      </pc:sldChg>
      <pc:sldChg chg="addSp modSp mod">
        <pc:chgData name="Kumar, Mahendra SBOBNG-PTIV/IB" userId="46236ead-755c-42fd-ab80-d5097f10a71e" providerId="ADAL" clId="{CAC93FB1-D795-4CAD-867A-1A5C929D12FA}" dt="2024-09-06T16:27:35.969" v="85"/>
        <pc:sldMkLst>
          <pc:docMk/>
          <pc:sldMk cId="3971512377" sldId="2147375603"/>
        </pc:sldMkLst>
        <pc:spChg chg="add">
          <ac:chgData name="Kumar, Mahendra SBOBNG-PTIV/IB" userId="46236ead-755c-42fd-ab80-d5097f10a71e" providerId="ADAL" clId="{CAC93FB1-D795-4CAD-867A-1A5C929D12FA}" dt="2024-09-06T16:27:28.953" v="83"/>
          <ac:spMkLst>
            <pc:docMk/>
            <pc:sldMk cId="3971512377" sldId="2147375603"/>
            <ac:spMk id="2" creationId="{899D8D27-4761-1D3C-C101-0384F1C370D0}"/>
          </ac:spMkLst>
        </pc:spChg>
        <pc:spChg chg="mod">
          <ac:chgData name="Kumar, Mahendra SBOBNG-PTIV/IB" userId="46236ead-755c-42fd-ab80-d5097f10a71e" providerId="ADAL" clId="{CAC93FB1-D795-4CAD-867A-1A5C929D12FA}" dt="2024-09-06T16:27:35.969" v="85"/>
          <ac:spMkLst>
            <pc:docMk/>
            <pc:sldMk cId="3971512377" sldId="2147375603"/>
            <ac:spMk id="11" creationId="{DE9F1BE0-7910-FA1B-DCE8-56EFD1E4FC09}"/>
          </ac:spMkLst>
        </pc:spChg>
      </pc:sldChg>
      <pc:sldChg chg="addSp delSp modSp mod">
        <pc:chgData name="Kumar, Mahendra SBOBNG-PTIV/IB" userId="46236ead-755c-42fd-ab80-d5097f10a71e" providerId="ADAL" clId="{CAC93FB1-D795-4CAD-867A-1A5C929D12FA}" dt="2024-09-06T16:37:53.630" v="118" actId="20578"/>
        <pc:sldMkLst>
          <pc:docMk/>
          <pc:sldMk cId="2340944189" sldId="2147375607"/>
        </pc:sldMkLst>
        <pc:spChg chg="mod">
          <ac:chgData name="Kumar, Mahendra SBOBNG-PTIV/IB" userId="46236ead-755c-42fd-ab80-d5097f10a71e" providerId="ADAL" clId="{CAC93FB1-D795-4CAD-867A-1A5C929D12FA}" dt="2024-09-06T16:37:53.630" v="118" actId="20578"/>
          <ac:spMkLst>
            <pc:docMk/>
            <pc:sldMk cId="2340944189" sldId="2147375607"/>
            <ac:spMk id="11" creationId="{DE9F1BE0-7910-FA1B-DCE8-56EFD1E4FC09}"/>
          </ac:spMkLst>
        </pc:spChg>
        <pc:picChg chg="del">
          <ac:chgData name="Kumar, Mahendra SBOBNG-PTIV/IB" userId="46236ead-755c-42fd-ab80-d5097f10a71e" providerId="ADAL" clId="{CAC93FB1-D795-4CAD-867A-1A5C929D12FA}" dt="2024-09-06T16:30:19.138" v="94" actId="478"/>
          <ac:picMkLst>
            <pc:docMk/>
            <pc:sldMk cId="2340944189" sldId="2147375607"/>
            <ac:picMk id="5" creationId="{5421D8DA-A3D1-3438-8C92-106BDC1268C8}"/>
          </ac:picMkLst>
        </pc:picChg>
        <pc:picChg chg="add mod">
          <ac:chgData name="Kumar, Mahendra SBOBNG-PTIV/IB" userId="46236ead-755c-42fd-ab80-d5097f10a71e" providerId="ADAL" clId="{CAC93FB1-D795-4CAD-867A-1A5C929D12FA}" dt="2024-09-06T16:30:19.360" v="95"/>
          <ac:picMkLst>
            <pc:docMk/>
            <pc:sldMk cId="2340944189" sldId="2147375607"/>
            <ac:picMk id="6" creationId="{CA2ACF5C-2ADC-BF54-00A4-E2989BA6CFF2}"/>
          </ac:picMkLst>
        </pc:picChg>
      </pc:sldChg>
      <pc:sldChg chg="modSp mod">
        <pc:chgData name="Kumar, Mahendra SBOBNG-PTIV/IB" userId="46236ead-755c-42fd-ab80-d5097f10a71e" providerId="ADAL" clId="{CAC93FB1-D795-4CAD-867A-1A5C929D12FA}" dt="2024-09-06T16:44:22.835" v="680" actId="20577"/>
        <pc:sldMkLst>
          <pc:docMk/>
          <pc:sldMk cId="3754613224" sldId="2147375611"/>
        </pc:sldMkLst>
        <pc:spChg chg="mod">
          <ac:chgData name="Kumar, Mahendra SBOBNG-PTIV/IB" userId="46236ead-755c-42fd-ab80-d5097f10a71e" providerId="ADAL" clId="{CAC93FB1-D795-4CAD-867A-1A5C929D12FA}" dt="2024-09-06T16:44:22.835" v="680" actId="20577"/>
          <ac:spMkLst>
            <pc:docMk/>
            <pc:sldMk cId="3754613224" sldId="2147375611"/>
            <ac:spMk id="18" creationId="{6C73795A-BE20-7075-E9C6-6F145CE60794}"/>
          </ac:spMkLst>
        </pc:spChg>
      </pc:sldChg>
      <pc:sldChg chg="modSp mod">
        <pc:chgData name="Kumar, Mahendra SBOBNG-PTIV/IB" userId="46236ead-755c-42fd-ab80-d5097f10a71e" providerId="ADAL" clId="{CAC93FB1-D795-4CAD-867A-1A5C929D12FA}" dt="2024-09-06T16:39:10.050" v="328" actId="20577"/>
        <pc:sldMkLst>
          <pc:docMk/>
          <pc:sldMk cId="1148838763" sldId="2147375613"/>
        </pc:sldMkLst>
        <pc:spChg chg="mod">
          <ac:chgData name="Kumar, Mahendra SBOBNG-PTIV/IB" userId="46236ead-755c-42fd-ab80-d5097f10a71e" providerId="ADAL" clId="{CAC93FB1-D795-4CAD-867A-1A5C929D12FA}" dt="2024-09-06T16:39:10.050" v="328" actId="20577"/>
          <ac:spMkLst>
            <pc:docMk/>
            <pc:sldMk cId="1148838763" sldId="2147375613"/>
            <ac:spMk id="11" creationId="{8CC1343B-2E39-FEFF-8FF6-46822F18B432}"/>
          </ac:spMkLst>
        </pc:spChg>
      </pc:sldChg>
      <pc:sldChg chg="addSp delSp modSp mod">
        <pc:chgData name="Kumar, Mahendra SBOBNG-PTIV/IB" userId="46236ead-755c-42fd-ab80-d5097f10a71e" providerId="ADAL" clId="{CAC93FB1-D795-4CAD-867A-1A5C929D12FA}" dt="2024-09-06T16:26:49.739" v="82" actId="20577"/>
        <pc:sldMkLst>
          <pc:docMk/>
          <pc:sldMk cId="1733417607" sldId="2147375615"/>
        </pc:sldMkLst>
        <pc:spChg chg="mod">
          <ac:chgData name="Kumar, Mahendra SBOBNG-PTIV/IB" userId="46236ead-755c-42fd-ab80-d5097f10a71e" providerId="ADAL" clId="{CAC93FB1-D795-4CAD-867A-1A5C929D12FA}" dt="2024-09-06T16:26:49.739" v="82" actId="20577"/>
          <ac:spMkLst>
            <pc:docMk/>
            <pc:sldMk cId="1733417607" sldId="2147375615"/>
            <ac:spMk id="11" creationId="{DE9F1BE0-7910-FA1B-DCE8-56EFD1E4FC09}"/>
          </ac:spMkLst>
        </pc:spChg>
        <pc:picChg chg="del">
          <ac:chgData name="Kumar, Mahendra SBOBNG-PTIV/IB" userId="46236ead-755c-42fd-ab80-d5097f10a71e" providerId="ADAL" clId="{CAC93FB1-D795-4CAD-867A-1A5C929D12FA}" dt="2024-09-06T16:25:45.159" v="62" actId="478"/>
          <ac:picMkLst>
            <pc:docMk/>
            <pc:sldMk cId="1733417607" sldId="2147375615"/>
            <ac:picMk id="5" creationId="{ADA28027-9E86-F9DF-0BBA-469C1E8E12D1}"/>
          </ac:picMkLst>
        </pc:picChg>
        <pc:picChg chg="add mod">
          <ac:chgData name="Kumar, Mahendra SBOBNG-PTIV/IB" userId="46236ead-755c-42fd-ab80-d5097f10a71e" providerId="ADAL" clId="{CAC93FB1-D795-4CAD-867A-1A5C929D12FA}" dt="2024-09-06T16:26:11.348" v="67" actId="1076"/>
          <ac:picMkLst>
            <pc:docMk/>
            <pc:sldMk cId="1733417607" sldId="2147375615"/>
            <ac:picMk id="1026" creationId="{000F3F4D-5940-B3CA-3ABC-49F302640958}"/>
          </ac:picMkLst>
        </pc:picChg>
      </pc:sldChg>
      <pc:sldChg chg="modSp mod">
        <pc:chgData name="Kumar, Mahendra SBOBNG-PTIV/IB" userId="46236ead-755c-42fd-ab80-d5097f10a71e" providerId="ADAL" clId="{CAC93FB1-D795-4CAD-867A-1A5C929D12FA}" dt="2024-09-06T16:29:32.195" v="93"/>
        <pc:sldMkLst>
          <pc:docMk/>
          <pc:sldMk cId="1779808674" sldId="2147375616"/>
        </pc:sldMkLst>
        <pc:spChg chg="mod">
          <ac:chgData name="Kumar, Mahendra SBOBNG-PTIV/IB" userId="46236ead-755c-42fd-ab80-d5097f10a71e" providerId="ADAL" clId="{CAC93FB1-D795-4CAD-867A-1A5C929D12FA}" dt="2024-09-06T16:29:32.195" v="93"/>
          <ac:spMkLst>
            <pc:docMk/>
            <pc:sldMk cId="1779808674" sldId="2147375616"/>
            <ac:spMk id="11" creationId="{DE9F1BE0-7910-FA1B-DCE8-56EFD1E4FC09}"/>
          </ac:spMkLst>
        </pc:spChg>
      </pc:sldChg>
      <pc:sldChg chg="modSp mod">
        <pc:chgData name="Kumar, Mahendra SBOBNG-PTIV/IB" userId="46236ead-755c-42fd-ab80-d5097f10a71e" providerId="ADAL" clId="{CAC93FB1-D795-4CAD-867A-1A5C929D12FA}" dt="2024-09-06T16:28:17.582" v="87"/>
        <pc:sldMkLst>
          <pc:docMk/>
          <pc:sldMk cId="2505845866" sldId="2147375622"/>
        </pc:sldMkLst>
        <pc:spChg chg="mod">
          <ac:chgData name="Kumar, Mahendra SBOBNG-PTIV/IB" userId="46236ead-755c-42fd-ab80-d5097f10a71e" providerId="ADAL" clId="{CAC93FB1-D795-4CAD-867A-1A5C929D12FA}" dt="2024-09-06T16:28:17.582" v="87"/>
          <ac:spMkLst>
            <pc:docMk/>
            <pc:sldMk cId="2505845866" sldId="2147375622"/>
            <ac:spMk id="11" creationId="{DE9F1BE0-7910-FA1B-DCE8-56EFD1E4FC09}"/>
          </ac:spMkLst>
        </pc:spChg>
      </pc:sldChg>
      <pc:sldChg chg="modSp mod">
        <pc:chgData name="Kumar, Mahendra SBOBNG-PTIV/IB" userId="46236ead-755c-42fd-ab80-d5097f10a71e" providerId="ADAL" clId="{CAC93FB1-D795-4CAD-867A-1A5C929D12FA}" dt="2024-09-06T16:28:53.077" v="91" actId="20577"/>
        <pc:sldMkLst>
          <pc:docMk/>
          <pc:sldMk cId="3874448144" sldId="2147375626"/>
        </pc:sldMkLst>
        <pc:spChg chg="mod">
          <ac:chgData name="Kumar, Mahendra SBOBNG-PTIV/IB" userId="46236ead-755c-42fd-ab80-d5097f10a71e" providerId="ADAL" clId="{CAC93FB1-D795-4CAD-867A-1A5C929D12FA}" dt="2024-09-06T16:28:53.077" v="91" actId="20577"/>
          <ac:spMkLst>
            <pc:docMk/>
            <pc:sldMk cId="3874448144" sldId="2147375626"/>
            <ac:spMk id="11" creationId="{DE9F1BE0-7910-FA1B-DCE8-56EFD1E4FC09}"/>
          </ac:spMkLst>
        </pc:spChg>
      </pc:sldChg>
      <pc:sldChg chg="addSp delSp modSp mod">
        <pc:chgData name="Kumar, Mahendra SBOBNG-PTIV/IB" userId="46236ead-755c-42fd-ab80-d5097f10a71e" providerId="ADAL" clId="{CAC93FB1-D795-4CAD-867A-1A5C929D12FA}" dt="2024-09-06T16:37:47.692" v="116" actId="12"/>
        <pc:sldMkLst>
          <pc:docMk/>
          <pc:sldMk cId="270398084" sldId="2147375627"/>
        </pc:sldMkLst>
        <pc:spChg chg="mod">
          <ac:chgData name="Kumar, Mahendra SBOBNG-PTIV/IB" userId="46236ead-755c-42fd-ab80-d5097f10a71e" providerId="ADAL" clId="{CAC93FB1-D795-4CAD-867A-1A5C929D12FA}" dt="2024-09-06T16:37:47.692" v="116" actId="12"/>
          <ac:spMkLst>
            <pc:docMk/>
            <pc:sldMk cId="270398084" sldId="2147375627"/>
            <ac:spMk id="11" creationId="{DE9F1BE0-7910-FA1B-DCE8-56EFD1E4FC09}"/>
          </ac:spMkLst>
        </pc:spChg>
        <pc:picChg chg="del">
          <ac:chgData name="Kumar, Mahendra SBOBNG-PTIV/IB" userId="46236ead-755c-42fd-ab80-d5097f10a71e" providerId="ADAL" clId="{CAC93FB1-D795-4CAD-867A-1A5C929D12FA}" dt="2024-09-06T16:30:22.178" v="96" actId="478"/>
          <ac:picMkLst>
            <pc:docMk/>
            <pc:sldMk cId="270398084" sldId="2147375627"/>
            <ac:picMk id="5" creationId="{404E71BB-3B60-55D2-0A0E-7FF87A6E9EB1}"/>
          </ac:picMkLst>
        </pc:picChg>
        <pc:picChg chg="add mod">
          <ac:chgData name="Kumar, Mahendra SBOBNG-PTIV/IB" userId="46236ead-755c-42fd-ab80-d5097f10a71e" providerId="ADAL" clId="{CAC93FB1-D795-4CAD-867A-1A5C929D12FA}" dt="2024-09-06T16:30:22.660" v="97"/>
          <ac:picMkLst>
            <pc:docMk/>
            <pc:sldMk cId="270398084" sldId="2147375627"/>
            <ac:picMk id="6" creationId="{9B81057E-0473-11A8-73AD-85992ECE5FED}"/>
          </ac:picMkLst>
        </pc:picChg>
      </pc:sldChg>
      <pc:sldChg chg="addSp delSp modSp mod">
        <pc:chgData name="Kumar, Mahendra SBOBNG-PTIV/IB" userId="46236ead-755c-42fd-ab80-d5097f10a71e" providerId="ADAL" clId="{CAC93FB1-D795-4CAD-867A-1A5C929D12FA}" dt="2024-09-06T16:37:40.193" v="115" actId="12"/>
        <pc:sldMkLst>
          <pc:docMk/>
          <pc:sldMk cId="644646024" sldId="2147375628"/>
        </pc:sldMkLst>
        <pc:spChg chg="mod">
          <ac:chgData name="Kumar, Mahendra SBOBNG-PTIV/IB" userId="46236ead-755c-42fd-ab80-d5097f10a71e" providerId="ADAL" clId="{CAC93FB1-D795-4CAD-867A-1A5C929D12FA}" dt="2024-09-06T16:37:40.193" v="115" actId="12"/>
          <ac:spMkLst>
            <pc:docMk/>
            <pc:sldMk cId="644646024" sldId="2147375628"/>
            <ac:spMk id="11" creationId="{DE9F1BE0-7910-FA1B-DCE8-56EFD1E4FC09}"/>
          </ac:spMkLst>
        </pc:spChg>
        <pc:picChg chg="del">
          <ac:chgData name="Kumar, Mahendra SBOBNG-PTIV/IB" userId="46236ead-755c-42fd-ab80-d5097f10a71e" providerId="ADAL" clId="{CAC93FB1-D795-4CAD-867A-1A5C929D12FA}" dt="2024-09-06T16:30:26.671" v="98" actId="478"/>
          <ac:picMkLst>
            <pc:docMk/>
            <pc:sldMk cId="644646024" sldId="2147375628"/>
            <ac:picMk id="5" creationId="{10AC7ED0-D7CB-C627-9FC0-1DC606F07A81}"/>
          </ac:picMkLst>
        </pc:picChg>
        <pc:picChg chg="add mod">
          <ac:chgData name="Kumar, Mahendra SBOBNG-PTIV/IB" userId="46236ead-755c-42fd-ab80-d5097f10a71e" providerId="ADAL" clId="{CAC93FB1-D795-4CAD-867A-1A5C929D12FA}" dt="2024-09-06T16:30:26.970" v="99"/>
          <ac:picMkLst>
            <pc:docMk/>
            <pc:sldMk cId="644646024" sldId="2147375628"/>
            <ac:picMk id="6" creationId="{A7274119-4E23-00B2-6DEF-65573F320CDA}"/>
          </ac:picMkLst>
        </pc:picChg>
      </pc:sldChg>
      <pc:sldChg chg="addSp delSp modSp mod">
        <pc:chgData name="Kumar, Mahendra SBOBNG-PTIV/IB" userId="46236ead-755c-42fd-ab80-d5097f10a71e" providerId="ADAL" clId="{CAC93FB1-D795-4CAD-867A-1A5C929D12FA}" dt="2024-09-06T16:37:30.879" v="112" actId="12"/>
        <pc:sldMkLst>
          <pc:docMk/>
          <pc:sldMk cId="2301280679" sldId="2147375629"/>
        </pc:sldMkLst>
        <pc:spChg chg="mod">
          <ac:chgData name="Kumar, Mahendra SBOBNG-PTIV/IB" userId="46236ead-755c-42fd-ab80-d5097f10a71e" providerId="ADAL" clId="{CAC93FB1-D795-4CAD-867A-1A5C929D12FA}" dt="2024-09-06T16:37:30.879" v="112" actId="12"/>
          <ac:spMkLst>
            <pc:docMk/>
            <pc:sldMk cId="2301280679" sldId="2147375629"/>
            <ac:spMk id="11" creationId="{DE9F1BE0-7910-FA1B-DCE8-56EFD1E4FC09}"/>
          </ac:spMkLst>
        </pc:spChg>
        <pc:picChg chg="add mod">
          <ac:chgData name="Kumar, Mahendra SBOBNG-PTIV/IB" userId="46236ead-755c-42fd-ab80-d5097f10a71e" providerId="ADAL" clId="{CAC93FB1-D795-4CAD-867A-1A5C929D12FA}" dt="2024-09-06T16:30:31.106" v="101"/>
          <ac:picMkLst>
            <pc:docMk/>
            <pc:sldMk cId="2301280679" sldId="2147375629"/>
            <ac:picMk id="5" creationId="{77242CFF-6B76-DC91-EEFE-9B01360A53DC}"/>
          </ac:picMkLst>
        </pc:picChg>
        <pc:picChg chg="del">
          <ac:chgData name="Kumar, Mahendra SBOBNG-PTIV/IB" userId="46236ead-755c-42fd-ab80-d5097f10a71e" providerId="ADAL" clId="{CAC93FB1-D795-4CAD-867A-1A5C929D12FA}" dt="2024-09-06T16:30:30.918" v="100" actId="478"/>
          <ac:picMkLst>
            <pc:docMk/>
            <pc:sldMk cId="2301280679" sldId="2147375629"/>
            <ac:picMk id="8" creationId="{2FD38B58-3057-C349-455D-2E07FD27E395}"/>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Garg, Khushi SBOBNG-PTIV/IPI" userId="61b8e582-884e-4d1f-9a4e-7100a54c98d7" providerId="ADAL" clId="{BC649479-8C35-4DD3-A0DA-CD15AC97EF70}"/>
    <pc:docChg chg="undo redo custSel addSld modSld">
      <pc:chgData name="Garg, Khushi SBOBNG-PTIV/IPI" userId="61b8e582-884e-4d1f-9a4e-7100a54c98d7" providerId="ADAL" clId="{BC649479-8C35-4DD3-A0DA-CD15AC97EF70}" dt="2024-09-01T14:11:34.909" v="657" actId="20577"/>
      <pc:docMkLst>
        <pc:docMk/>
      </pc:docMkLst>
      <pc:sldChg chg="modSp mod">
        <pc:chgData name="Garg, Khushi SBOBNG-PTIV/IPI" userId="61b8e582-884e-4d1f-9a4e-7100a54c98d7" providerId="ADAL" clId="{BC649479-8C35-4DD3-A0DA-CD15AC97EF70}" dt="2024-08-27T11:34:36.171" v="23" actId="20577"/>
        <pc:sldMkLst>
          <pc:docMk/>
          <pc:sldMk cId="3267775274" sldId="256"/>
        </pc:sldMkLst>
        <pc:spChg chg="mod">
          <ac:chgData name="Garg, Khushi SBOBNG-PTIV/IPI" userId="61b8e582-884e-4d1f-9a4e-7100a54c98d7" providerId="ADAL" clId="{BC649479-8C35-4DD3-A0DA-CD15AC97EF70}" dt="2024-08-27T11:34:36.171" v="23" actId="20577"/>
          <ac:spMkLst>
            <pc:docMk/>
            <pc:sldMk cId="3267775274" sldId="256"/>
            <ac:spMk id="6" creationId="{0C37A4A8-A3C7-407F-B123-88E2E165C827}"/>
          </ac:spMkLst>
        </pc:spChg>
        <pc:spChg chg="mod">
          <ac:chgData name="Garg, Khushi SBOBNG-PTIV/IPI" userId="61b8e582-884e-4d1f-9a4e-7100a54c98d7" providerId="ADAL" clId="{BC649479-8C35-4DD3-A0DA-CD15AC97EF70}" dt="2024-08-27T11:34:30.030" v="20" actId="20577"/>
          <ac:spMkLst>
            <pc:docMk/>
            <pc:sldMk cId="3267775274" sldId="256"/>
            <ac:spMk id="12" creationId="{8A24547F-8A92-CDC5-A578-3733390534F2}"/>
          </ac:spMkLst>
        </pc:spChg>
      </pc:sldChg>
      <pc:sldChg chg="addSp delSp modSp mod">
        <pc:chgData name="Garg, Khushi SBOBNG-PTIV/IPI" userId="61b8e582-884e-4d1f-9a4e-7100a54c98d7" providerId="ADAL" clId="{BC649479-8C35-4DD3-A0DA-CD15AC97EF70}" dt="2024-08-29T18:42:40.071" v="123" actId="20577"/>
        <pc:sldMkLst>
          <pc:docMk/>
          <pc:sldMk cId="867832184" sldId="2147375589"/>
        </pc:sldMkLst>
        <pc:spChg chg="mod">
          <ac:chgData name="Garg, Khushi SBOBNG-PTIV/IPI" userId="61b8e582-884e-4d1f-9a4e-7100a54c98d7" providerId="ADAL" clId="{BC649479-8C35-4DD3-A0DA-CD15AC97EF70}" dt="2024-08-29T18:42:40.071" v="123" actId="20577"/>
          <ac:spMkLst>
            <pc:docMk/>
            <pc:sldMk cId="867832184" sldId="2147375589"/>
            <ac:spMk id="10" creationId="{1119CB9E-042F-11E8-F683-654626D307B3}"/>
          </ac:spMkLst>
        </pc:spChg>
        <pc:spChg chg="mod">
          <ac:chgData name="Garg, Khushi SBOBNG-PTIV/IPI" userId="61b8e582-884e-4d1f-9a4e-7100a54c98d7" providerId="ADAL" clId="{BC649479-8C35-4DD3-A0DA-CD15AC97EF70}" dt="2024-08-27T11:36:23.703" v="43" actId="20577"/>
          <ac:spMkLst>
            <pc:docMk/>
            <pc:sldMk cId="867832184" sldId="2147375589"/>
            <ac:spMk id="11" creationId="{CE0DDF5F-FE47-F9A2-FE84-53B63DFF494D}"/>
          </ac:spMkLst>
        </pc:spChg>
        <pc:picChg chg="add del mod">
          <ac:chgData name="Garg, Khushi SBOBNG-PTIV/IPI" userId="61b8e582-884e-4d1f-9a4e-7100a54c98d7" providerId="ADAL" clId="{BC649479-8C35-4DD3-A0DA-CD15AC97EF70}" dt="2024-08-29T18:33:11.888" v="52" actId="478"/>
          <ac:picMkLst>
            <pc:docMk/>
            <pc:sldMk cId="867832184" sldId="2147375589"/>
            <ac:picMk id="6" creationId="{AEF3BBA8-2DC4-344C-F2CE-C5E57E4B5D5C}"/>
          </ac:picMkLst>
        </pc:picChg>
        <pc:picChg chg="add mod">
          <ac:chgData name="Garg, Khushi SBOBNG-PTIV/IPI" userId="61b8e582-884e-4d1f-9a4e-7100a54c98d7" providerId="ADAL" clId="{BC649479-8C35-4DD3-A0DA-CD15AC97EF70}" dt="2024-08-29T18:34:31.968" v="60" actId="962"/>
          <ac:picMkLst>
            <pc:docMk/>
            <pc:sldMk cId="867832184" sldId="2147375589"/>
            <ac:picMk id="7" creationId="{16F2E17D-08F5-CD02-4659-F7307E6623B8}"/>
          </ac:picMkLst>
        </pc:picChg>
      </pc:sldChg>
      <pc:sldChg chg="addSp modSp mod">
        <pc:chgData name="Garg, Khushi SBOBNG-PTIV/IPI" userId="61b8e582-884e-4d1f-9a4e-7100a54c98d7" providerId="ADAL" clId="{BC649479-8C35-4DD3-A0DA-CD15AC97EF70}" dt="2024-08-29T18:47:39.493" v="309" actId="1076"/>
        <pc:sldMkLst>
          <pc:docMk/>
          <pc:sldMk cId="245881457" sldId="2147375597"/>
        </pc:sldMkLst>
        <pc:spChg chg="add mod">
          <ac:chgData name="Garg, Khushi SBOBNG-PTIV/IPI" userId="61b8e582-884e-4d1f-9a4e-7100a54c98d7" providerId="ADAL" clId="{BC649479-8C35-4DD3-A0DA-CD15AC97EF70}" dt="2024-08-29T18:47:23.254" v="303" actId="14100"/>
          <ac:spMkLst>
            <pc:docMk/>
            <pc:sldMk cId="245881457" sldId="2147375597"/>
            <ac:spMk id="6" creationId="{5008A4BC-F100-C725-E512-0BA1576895EF}"/>
          </ac:spMkLst>
        </pc:spChg>
        <pc:spChg chg="mod">
          <ac:chgData name="Garg, Khushi SBOBNG-PTIV/IPI" userId="61b8e582-884e-4d1f-9a4e-7100a54c98d7" providerId="ADAL" clId="{BC649479-8C35-4DD3-A0DA-CD15AC97EF70}" dt="2024-08-29T18:46:45.682" v="301" actId="20577"/>
          <ac:spMkLst>
            <pc:docMk/>
            <pc:sldMk cId="245881457" sldId="2147375597"/>
            <ac:spMk id="11" creationId="{DE9F1BE0-7910-FA1B-DCE8-56EFD1E4FC09}"/>
          </ac:spMkLst>
        </pc:spChg>
        <pc:spChg chg="mod">
          <ac:chgData name="Garg, Khushi SBOBNG-PTIV/IPI" userId="61b8e582-884e-4d1f-9a4e-7100a54c98d7" providerId="ADAL" clId="{BC649479-8C35-4DD3-A0DA-CD15AC97EF70}" dt="2024-08-29T18:47:27.304" v="306" actId="20577"/>
          <ac:spMkLst>
            <pc:docMk/>
            <pc:sldMk cId="245881457" sldId="2147375597"/>
            <ac:spMk id="12" creationId="{E53E5C3F-4D2B-B85F-E592-E58E032C664C}"/>
          </ac:spMkLst>
        </pc:spChg>
        <pc:picChg chg="add mod">
          <ac:chgData name="Garg, Khushi SBOBNG-PTIV/IPI" userId="61b8e582-884e-4d1f-9a4e-7100a54c98d7" providerId="ADAL" clId="{BC649479-8C35-4DD3-A0DA-CD15AC97EF70}" dt="2024-08-29T18:47:39.493" v="309" actId="1076"/>
          <ac:picMkLst>
            <pc:docMk/>
            <pc:sldMk cId="245881457" sldId="2147375597"/>
            <ac:picMk id="5" creationId="{B88C7D08-CED4-8219-099B-2CB3F6B167F6}"/>
          </ac:picMkLst>
        </pc:picChg>
      </pc:sldChg>
      <pc:sldChg chg="addSp delSp modSp mod">
        <pc:chgData name="Garg, Khushi SBOBNG-PTIV/IPI" userId="61b8e582-884e-4d1f-9a4e-7100a54c98d7" providerId="ADAL" clId="{BC649479-8C35-4DD3-A0DA-CD15AC97EF70}" dt="2024-08-29T18:52:04.887" v="347" actId="20577"/>
        <pc:sldMkLst>
          <pc:docMk/>
          <pc:sldMk cId="1181112711" sldId="2147375600"/>
        </pc:sldMkLst>
        <pc:spChg chg="add del mod">
          <ac:chgData name="Garg, Khushi SBOBNG-PTIV/IPI" userId="61b8e582-884e-4d1f-9a4e-7100a54c98d7" providerId="ADAL" clId="{BC649479-8C35-4DD3-A0DA-CD15AC97EF70}" dt="2024-08-29T18:49:33.894" v="323"/>
          <ac:spMkLst>
            <pc:docMk/>
            <pc:sldMk cId="1181112711" sldId="2147375600"/>
            <ac:spMk id="6" creationId="{879E5AC9-02C0-3D1A-ECEC-A63BA1C27A67}"/>
          </ac:spMkLst>
        </pc:spChg>
        <pc:spChg chg="mod">
          <ac:chgData name="Garg, Khushi SBOBNG-PTIV/IPI" userId="61b8e582-884e-4d1f-9a4e-7100a54c98d7" providerId="ADAL" clId="{BC649479-8C35-4DD3-A0DA-CD15AC97EF70}" dt="2024-08-29T18:52:04.887" v="347" actId="20577"/>
          <ac:spMkLst>
            <pc:docMk/>
            <pc:sldMk cId="1181112711" sldId="2147375600"/>
            <ac:spMk id="11" creationId="{DE9F1BE0-7910-FA1B-DCE8-56EFD1E4FC09}"/>
          </ac:spMkLst>
        </pc:spChg>
        <pc:spChg chg="mod">
          <ac:chgData name="Garg, Khushi SBOBNG-PTIV/IPI" userId="61b8e582-884e-4d1f-9a4e-7100a54c98d7" providerId="ADAL" clId="{BC649479-8C35-4DD3-A0DA-CD15AC97EF70}" dt="2024-08-29T18:48:27.126" v="314" actId="20577"/>
          <ac:spMkLst>
            <pc:docMk/>
            <pc:sldMk cId="1181112711" sldId="2147375600"/>
            <ac:spMk id="12" creationId="{E53E5C3F-4D2B-B85F-E592-E58E032C664C}"/>
          </ac:spMkLst>
        </pc:spChg>
        <pc:picChg chg="add mod">
          <ac:chgData name="Garg, Khushi SBOBNG-PTIV/IPI" userId="61b8e582-884e-4d1f-9a4e-7100a54c98d7" providerId="ADAL" clId="{BC649479-8C35-4DD3-A0DA-CD15AC97EF70}" dt="2024-08-29T18:49:41.330" v="325" actId="1076"/>
          <ac:picMkLst>
            <pc:docMk/>
            <pc:sldMk cId="1181112711" sldId="2147375600"/>
            <ac:picMk id="5" creationId="{6EF55A65-596C-FE25-8C78-2D4F8F6DB2EA}"/>
          </ac:picMkLst>
        </pc:picChg>
      </pc:sldChg>
      <pc:sldChg chg="addSp delSp modSp mod">
        <pc:chgData name="Garg, Khushi SBOBNG-PTIV/IPI" userId="61b8e582-884e-4d1f-9a4e-7100a54c98d7" providerId="ADAL" clId="{BC649479-8C35-4DD3-A0DA-CD15AC97EF70}" dt="2024-08-29T18:57:48.631" v="524" actId="113"/>
        <pc:sldMkLst>
          <pc:docMk/>
          <pc:sldMk cId="3233747587" sldId="2147375601"/>
        </pc:sldMkLst>
        <pc:spChg chg="add del mod">
          <ac:chgData name="Garg, Khushi SBOBNG-PTIV/IPI" userId="61b8e582-884e-4d1f-9a4e-7100a54c98d7" providerId="ADAL" clId="{BC649479-8C35-4DD3-A0DA-CD15AC97EF70}" dt="2024-08-29T18:53:28.092" v="361"/>
          <ac:spMkLst>
            <pc:docMk/>
            <pc:sldMk cId="3233747587" sldId="2147375601"/>
            <ac:spMk id="6" creationId="{3FD420C3-FAC3-617D-99E8-6FBA5D96AC68}"/>
          </ac:spMkLst>
        </pc:spChg>
        <pc:spChg chg="mod">
          <ac:chgData name="Garg, Khushi SBOBNG-PTIV/IPI" userId="61b8e582-884e-4d1f-9a4e-7100a54c98d7" providerId="ADAL" clId="{BC649479-8C35-4DD3-A0DA-CD15AC97EF70}" dt="2024-08-29T18:57:48.631" v="524" actId="113"/>
          <ac:spMkLst>
            <pc:docMk/>
            <pc:sldMk cId="3233747587" sldId="2147375601"/>
            <ac:spMk id="11" creationId="{DE9F1BE0-7910-FA1B-DCE8-56EFD1E4FC09}"/>
          </ac:spMkLst>
        </pc:spChg>
        <pc:spChg chg="mod">
          <ac:chgData name="Garg, Khushi SBOBNG-PTIV/IPI" userId="61b8e582-884e-4d1f-9a4e-7100a54c98d7" providerId="ADAL" clId="{BC649479-8C35-4DD3-A0DA-CD15AC97EF70}" dt="2024-08-29T18:52:24.336" v="349" actId="20577"/>
          <ac:spMkLst>
            <pc:docMk/>
            <pc:sldMk cId="3233747587" sldId="2147375601"/>
            <ac:spMk id="12" creationId="{E53E5C3F-4D2B-B85F-E592-E58E032C664C}"/>
          </ac:spMkLst>
        </pc:spChg>
        <pc:picChg chg="add mod">
          <ac:chgData name="Garg, Khushi SBOBNG-PTIV/IPI" userId="61b8e582-884e-4d1f-9a4e-7100a54c98d7" providerId="ADAL" clId="{BC649479-8C35-4DD3-A0DA-CD15AC97EF70}" dt="2024-08-29T18:53:35.643" v="363" actId="1076"/>
          <ac:picMkLst>
            <pc:docMk/>
            <pc:sldMk cId="3233747587" sldId="2147375601"/>
            <ac:picMk id="5" creationId="{72828DCA-F054-F7FA-1C3F-AFA0753065A9}"/>
          </ac:picMkLst>
        </pc:picChg>
      </pc:sldChg>
      <pc:sldChg chg="modSp mod">
        <pc:chgData name="Garg, Khushi SBOBNG-PTIV/IPI" userId="61b8e582-884e-4d1f-9a4e-7100a54c98d7" providerId="ADAL" clId="{BC649479-8C35-4DD3-A0DA-CD15AC97EF70}" dt="2024-09-01T14:11:34.909" v="657" actId="20577"/>
        <pc:sldMkLst>
          <pc:docMk/>
          <pc:sldMk cId="3971512377" sldId="2147375603"/>
        </pc:sldMkLst>
        <pc:spChg chg="mod">
          <ac:chgData name="Garg, Khushi SBOBNG-PTIV/IPI" userId="61b8e582-884e-4d1f-9a4e-7100a54c98d7" providerId="ADAL" clId="{BC649479-8C35-4DD3-A0DA-CD15AC97EF70}" dt="2024-09-01T14:11:34.909" v="657" actId="20577"/>
          <ac:spMkLst>
            <pc:docMk/>
            <pc:sldMk cId="3971512377" sldId="2147375603"/>
            <ac:spMk id="11" creationId="{DE9F1BE0-7910-FA1B-DCE8-56EFD1E4FC09}"/>
          </ac:spMkLst>
        </pc:spChg>
      </pc:sldChg>
      <pc:sldChg chg="addSp delSp modSp add mod">
        <pc:chgData name="Garg, Khushi SBOBNG-PTIV/IPI" userId="61b8e582-884e-4d1f-9a4e-7100a54c98d7" providerId="ADAL" clId="{BC649479-8C35-4DD3-A0DA-CD15AC97EF70}" dt="2024-09-01T14:00:30.934" v="541"/>
        <pc:sldMkLst>
          <pc:docMk/>
          <pc:sldMk cId="1733417607" sldId="2147375615"/>
        </pc:sldMkLst>
        <pc:spChg chg="mod">
          <ac:chgData name="Garg, Khushi SBOBNG-PTIV/IPI" userId="61b8e582-884e-4d1f-9a4e-7100a54c98d7" providerId="ADAL" clId="{BC649479-8C35-4DD3-A0DA-CD15AC97EF70}" dt="2024-09-01T13:59:31.359" v="531" actId="20577"/>
          <ac:spMkLst>
            <pc:docMk/>
            <pc:sldMk cId="1733417607" sldId="2147375615"/>
            <ac:spMk id="3" creationId="{CEA128C4-A0BC-A895-713C-306E7FF62894}"/>
          </ac:spMkLst>
        </pc:spChg>
        <pc:spChg chg="add del mod">
          <ac:chgData name="Garg, Khushi SBOBNG-PTIV/IPI" userId="61b8e582-884e-4d1f-9a4e-7100a54c98d7" providerId="ADAL" clId="{BC649479-8C35-4DD3-A0DA-CD15AC97EF70}" dt="2024-09-01T14:00:30.934" v="541"/>
          <ac:spMkLst>
            <pc:docMk/>
            <pc:sldMk cId="1733417607" sldId="2147375615"/>
            <ac:spMk id="8" creationId="{5E1402FB-D01E-86D8-EF4B-4AB479757D87}"/>
          </ac:spMkLst>
        </pc:spChg>
        <pc:spChg chg="mod">
          <ac:chgData name="Garg, Khushi SBOBNG-PTIV/IPI" userId="61b8e582-884e-4d1f-9a4e-7100a54c98d7" providerId="ADAL" clId="{BC649479-8C35-4DD3-A0DA-CD15AC97EF70}" dt="2024-09-01T13:59:26.670" v="529" actId="12"/>
          <ac:spMkLst>
            <pc:docMk/>
            <pc:sldMk cId="1733417607" sldId="2147375615"/>
            <ac:spMk id="11" creationId="{DE9F1BE0-7910-FA1B-DCE8-56EFD1E4FC09}"/>
          </ac:spMkLst>
        </pc:spChg>
        <pc:spChg chg="mod">
          <ac:chgData name="Garg, Khushi SBOBNG-PTIV/IPI" userId="61b8e582-884e-4d1f-9a4e-7100a54c98d7" providerId="ADAL" clId="{BC649479-8C35-4DD3-A0DA-CD15AC97EF70}" dt="2024-09-01T14:00:18.206" v="537" actId="962"/>
          <ac:spMkLst>
            <pc:docMk/>
            <pc:sldMk cId="1733417607" sldId="2147375615"/>
            <ac:spMk id="12" creationId="{E53E5C3F-4D2B-B85F-E592-E58E032C664C}"/>
          </ac:spMkLst>
        </pc:spChg>
        <pc:picChg chg="del">
          <ac:chgData name="Garg, Khushi SBOBNG-PTIV/IPI" userId="61b8e582-884e-4d1f-9a4e-7100a54c98d7" providerId="ADAL" clId="{BC649479-8C35-4DD3-A0DA-CD15AC97EF70}" dt="2024-09-01T13:59:34.553" v="532" actId="478"/>
          <ac:picMkLst>
            <pc:docMk/>
            <pc:sldMk cId="1733417607" sldId="2147375615"/>
            <ac:picMk id="5" creationId="{72828DCA-F054-F7FA-1C3F-AFA0753065A9}"/>
          </ac:picMkLst>
        </pc:picChg>
        <pc:picChg chg="add mod">
          <ac:chgData name="Garg, Khushi SBOBNG-PTIV/IPI" userId="61b8e582-884e-4d1f-9a4e-7100a54c98d7" providerId="ADAL" clId="{BC649479-8C35-4DD3-A0DA-CD15AC97EF70}" dt="2024-09-01T14:00:29.908" v="539" actId="1076"/>
          <ac:picMkLst>
            <pc:docMk/>
            <pc:sldMk cId="1733417607" sldId="2147375615"/>
            <ac:picMk id="6" creationId="{00486321-3A45-1A27-B9D4-86B9AAB721B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hyperlink" Target="https://maken.wikiwijs.nl/164112/Word_Office_365_L_L_Deel_3" TargetMode="External"/><Relationship Id="rId3" Type="http://schemas.openxmlformats.org/officeDocument/2006/relationships/oleObject" Target="../embeddings/oleObject16.bin"/><Relationship Id="rId7" Type="http://schemas.openxmlformats.org/officeDocument/2006/relationships/image" Target="../media/image39.jp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www.vrogue.co/post/jira-defect-life-cycle-software-testing-life-cycles-agile-development" TargetMode="External"/><Relationship Id="rId3" Type="http://schemas.openxmlformats.org/officeDocument/2006/relationships/oleObject" Target="../embeddings/oleObject4.bin"/><Relationship Id="rId7" Type="http://schemas.openxmlformats.org/officeDocument/2006/relationships/image" Target="../media/image26.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blog.testlodge.com/what-is-test-strategy/" TargetMode="External"/><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4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Mahendra Kumar</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lIns="91440" tIns="45720" rIns="91440" bIns="45720"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b="1" dirty="0"/>
          </a:p>
          <a:p>
            <a:pPr marL="0" indent="0">
              <a:buNone/>
            </a:pPr>
            <a:r>
              <a:rPr lang="en-US" sz="2000" b="1" dirty="0"/>
              <a:t>How I feel Shell implements this learning</a:t>
            </a:r>
          </a:p>
          <a:p>
            <a:pPr marL="0" indent="0">
              <a:buNone/>
            </a:pPr>
            <a:endParaRPr lang="en-US" sz="2000" dirty="0"/>
          </a:p>
          <a:p>
            <a:pPr marL="0" indent="0">
              <a:buNone/>
            </a:pPr>
            <a:r>
              <a:rPr lang="en-GB" sz="2000" dirty="0"/>
              <a:t>Shell applies the Software Testing Life Cycle (STLC) by integrating testing into every phase, starting from the requirements phase and continuing through to the deployment phase. This systematic approach guarantees comprehensive software validation at each stage, facilitating the early identification and correction of defects.</a:t>
            </a: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2B8EE481-BD11-B6E9-567C-AB4C8A891A0D}"/>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9" name="Picture 8" descr="Shell Logo, Shell Symbol, Meaning, History and Evolution">
            <a:extLst>
              <a:ext uri="{FF2B5EF4-FFF2-40B4-BE49-F238E27FC236}">
                <a16:creationId xmlns:a16="http://schemas.microsoft.com/office/drawing/2014/main" id="{BF1F122F-3BAE-AED3-4738-3F6419E1F9B8}"/>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2505845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lIns="91440" tIns="45720" rIns="91440" bIns="45720"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buNone/>
            </a:pPr>
            <a:endParaRPr lang="en-US" sz="2000" dirty="0"/>
          </a:p>
          <a:p>
            <a:pPr marL="0" indent="0">
              <a:buNone/>
            </a:pPr>
            <a:r>
              <a:rPr lang="en-GB" sz="2000" dirty="0"/>
              <a:t>Shell's Test Strategy involves creating a clear plan to meet testing objectives efficiently within time and resource limits. This includes analysing requirements, defining the testing scope, and selecting the necessary tools and techniques. A well-defined strategy ensures focused, prioritized testing aligned with business goals.</a:t>
            </a:r>
            <a:endParaRPr lang="en-US" sz="2000" dirty="0"/>
          </a:p>
          <a:p>
            <a:pPr marL="0" indent="0">
              <a:buNone/>
            </a:pP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1CF12F9C-2858-76CB-6E83-E571F7F89CE2}"/>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9" name="Picture 8" descr="Shell Logo, Shell Symbol, Meaning, History and Evolution">
            <a:extLst>
              <a:ext uri="{FF2B5EF4-FFF2-40B4-BE49-F238E27FC236}">
                <a16:creationId xmlns:a16="http://schemas.microsoft.com/office/drawing/2014/main" id="{2899C533-B34E-8D55-A13B-446FD2569AE5}"/>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3874448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endParaRPr lang="en-US" sz="2000" dirty="0"/>
          </a:p>
          <a:p>
            <a:pPr marL="0" indent="0">
              <a:buNone/>
            </a:pPr>
            <a:r>
              <a:rPr lang="en-GB" sz="2000" dirty="0"/>
              <a:t>Shell can implement a Test Plan by developing a comprehensive document that details the objectives, scope, testing approach, schedule, and roles and responsibilities. This document acts as a blueprint, guiding the testing process to align with project standards. It includes test effort estimation, resource allocation, and clearly defines responsibilities, ensuring a structured and efficient testing process that meets timelines and quality goals.</a:t>
            </a:r>
            <a:endParaRPr lang="en-US" sz="2000" dirty="0"/>
          </a:p>
          <a:p>
            <a:pPr marL="0" indent="0">
              <a:buNone/>
            </a:pP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0442387D-EA05-C4A7-888D-AAEE72E48DCA}"/>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9" name="Picture 8" descr="Shell Logo, Shell Symbol, Meaning, History and Evolution">
            <a:extLst>
              <a:ext uri="{FF2B5EF4-FFF2-40B4-BE49-F238E27FC236}">
                <a16:creationId xmlns:a16="http://schemas.microsoft.com/office/drawing/2014/main" id="{3972E15D-981C-03E1-8DD0-3FE37B69AA5D}"/>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1779808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ea typeface="+mn-lt"/>
                <a:cs typeface="+mn-lt"/>
              </a:rPr>
              <a:t>Challenges faced while implementing</a:t>
            </a:r>
            <a:r>
              <a:rPr lang="en-US" sz="2000" b="1" dirty="0"/>
              <a:t>:</a:t>
            </a:r>
          </a:p>
          <a:p>
            <a:r>
              <a:rPr lang="en-GB" sz="2000" dirty="0"/>
              <a:t>Unclear Requirements: Lack of clear or complete specifications complicates thorough testing.</a:t>
            </a:r>
          </a:p>
          <a:p>
            <a:r>
              <a:rPr lang="en-GB" sz="2000" dirty="0"/>
              <a:t>Time Limitations: Tight deadlines restrict comprehensive testing, increasing the risk of undetected defects.</a:t>
            </a:r>
          </a:p>
          <a:p>
            <a:r>
              <a:rPr lang="en-GB" sz="2000" dirty="0"/>
              <a:t>Environment/Tool Challenges: Difficulties in setting up testing environments and selecting appropriate tools.</a:t>
            </a:r>
            <a:endParaRPr lang="en-US" sz="2000" dirty="0"/>
          </a:p>
          <a:p>
            <a:pPr marL="457200" lvl="1" indent="0">
              <a:buNone/>
            </a:pPr>
            <a:endParaRPr lang="en-US" sz="2000" dirty="0">
              <a:cs typeface="Arial"/>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ngled view of a part of a maze">
            <a:extLst>
              <a:ext uri="{FF2B5EF4-FFF2-40B4-BE49-F238E27FC236}">
                <a16:creationId xmlns:a16="http://schemas.microsoft.com/office/drawing/2014/main" id="{CA2ACF5C-2ADC-BF54-00A4-E2989BA6CFF2}"/>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1816996"/>
            <a:ext cx="5361911" cy="4164234"/>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p>
          <a:p>
            <a:pPr marL="457200" lvl="1" indent="0">
              <a:buNone/>
            </a:pPr>
            <a:endParaRPr lang="en-US" sz="2000" dirty="0"/>
          </a:p>
          <a:p>
            <a:r>
              <a:rPr lang="en-US" sz="2000" dirty="0"/>
              <a:t>Challenges in implementing the Software Testing Life Cycle (STLC):</a:t>
            </a:r>
          </a:p>
          <a:p>
            <a:r>
              <a:rPr lang="en-GB" sz="2000" dirty="0"/>
              <a:t>Changing Requirements: Incomplete or evolving requirements complicate effective test planning and execution.</a:t>
            </a:r>
          </a:p>
          <a:p>
            <a:r>
              <a:rPr lang="en-GB" sz="2000" dirty="0"/>
              <a:t>Resource Constraints: Limited time and resources hinder thorough testing.</a:t>
            </a:r>
          </a:p>
          <a:p>
            <a:r>
              <a:rPr lang="en-GB" sz="2000" dirty="0"/>
              <a:t>Team Integration: Poor collaboration between testing and development teams leads to miscommunication and delay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ngled view of a part of a maze">
            <a:extLst>
              <a:ext uri="{FF2B5EF4-FFF2-40B4-BE49-F238E27FC236}">
                <a16:creationId xmlns:a16="http://schemas.microsoft.com/office/drawing/2014/main" id="{9B81057E-0473-11A8-73AD-85992ECE5FE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1816996"/>
            <a:ext cx="5361911" cy="4164234"/>
          </a:xfrm>
          <a:prstGeom prst="rect">
            <a:avLst/>
          </a:prstGeom>
        </p:spPr>
      </p:pic>
    </p:spTree>
    <p:extLst>
      <p:ext uri="{BB962C8B-B14F-4D97-AF65-F5344CB8AC3E}">
        <p14:creationId xmlns:p14="http://schemas.microsoft.com/office/powerpoint/2010/main" val="270398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endParaRPr lang="en-US" sz="2000" dirty="0"/>
          </a:p>
          <a:p>
            <a:r>
              <a:rPr lang="en-GB" sz="2000" dirty="0"/>
              <a:t>Resource Allocation: Effectively distributing limited resources to meet testing goals is challenging and requires meticulous planning and prioritization.</a:t>
            </a:r>
          </a:p>
          <a:p>
            <a:r>
              <a:rPr lang="en-GB" sz="2000" dirty="0"/>
              <a:t>Time Constraints: Conducting comprehensive testing within a restricted timeframe can be tough, potentially resulting in overlooked defects or incomplete test coverage.</a:t>
            </a:r>
          </a:p>
          <a:p>
            <a:r>
              <a:rPr lang="en-GB" sz="2000" dirty="0"/>
              <a:t>Requirement Analysis: Precisely interpreting and converting requirements into a test strategy is complex and crucial for the success of the testing framework.</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ngled view of a part of a maze">
            <a:extLst>
              <a:ext uri="{FF2B5EF4-FFF2-40B4-BE49-F238E27FC236}">
                <a16:creationId xmlns:a16="http://schemas.microsoft.com/office/drawing/2014/main" id="{A7274119-4E23-00B2-6DEF-65573F320CDA}"/>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1816996"/>
            <a:ext cx="5361911" cy="4164234"/>
          </a:xfrm>
          <a:prstGeom prst="rect">
            <a:avLst/>
          </a:prstGeom>
        </p:spPr>
      </p:pic>
    </p:spTree>
    <p:extLst>
      <p:ext uri="{BB962C8B-B14F-4D97-AF65-F5344CB8AC3E}">
        <p14:creationId xmlns:p14="http://schemas.microsoft.com/office/powerpoint/2010/main" val="644646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p>
          <a:p>
            <a:pPr marL="457200" lvl="1" indent="0">
              <a:buNone/>
            </a:pPr>
            <a:endParaRPr lang="en-US" sz="2000" dirty="0"/>
          </a:p>
          <a:p>
            <a:r>
              <a:rPr lang="en-GB" sz="2000" dirty="0"/>
              <a:t>Scope Definition: Clearly outlining the scope and objectives can be difficult, potentially causing misalignment with project goals.</a:t>
            </a:r>
          </a:p>
          <a:p>
            <a:r>
              <a:rPr lang="en-GB" sz="2000" dirty="0"/>
              <a:t>Resource Allocation: Estimating the required test effort and assigning suitable roles can be challenging, impacting the effectiveness of the plan.</a:t>
            </a:r>
          </a:p>
          <a:p>
            <a:r>
              <a:rPr lang="en-GB" sz="2000" dirty="0"/>
              <a:t>Standard Compliance: Ensuring the test plan adheres to all standard requirements can be intricate and time-consuming.</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descr="Angled view of a part of a maze">
            <a:extLst>
              <a:ext uri="{FF2B5EF4-FFF2-40B4-BE49-F238E27FC236}">
                <a16:creationId xmlns:a16="http://schemas.microsoft.com/office/drawing/2014/main" id="{77242CFF-6B76-DC91-EEFE-9B01360A53D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1816996"/>
            <a:ext cx="5361911" cy="4164234"/>
          </a:xfrm>
          <a:prstGeom prst="rect">
            <a:avLst/>
          </a:prstGeom>
        </p:spPr>
      </p:pic>
    </p:spTree>
    <p:extLst>
      <p:ext uri="{BB962C8B-B14F-4D97-AF65-F5344CB8AC3E}">
        <p14:creationId xmlns:p14="http://schemas.microsoft.com/office/powerpoint/2010/main" val="2301280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cs typeface="Arial"/>
              </a:rPr>
              <a:t>Learning more about Azure DevOps and creating the Agile projects in it.</a:t>
            </a:r>
          </a:p>
          <a:p>
            <a:r>
              <a:rPr lang="en-US" sz="2000" dirty="0">
                <a:effectLst>
                  <a:outerShdw blurRad="38100" dist="38100" dir="2700000" algn="tl">
                    <a:srgbClr val="000000">
                      <a:alpha val="43137"/>
                    </a:srgbClr>
                  </a:outerShdw>
                </a:effectLst>
                <a:cs typeface="Arial"/>
              </a:rPr>
              <a:t>Taking part in Changemakers event.</a:t>
            </a:r>
          </a:p>
          <a:p>
            <a:r>
              <a:rPr lang="en-US" sz="2000" dirty="0">
                <a:effectLst>
                  <a:outerShdw blurRad="38100" dist="38100" dir="2700000" algn="tl">
                    <a:srgbClr val="000000">
                      <a:alpha val="43137"/>
                    </a:srgbClr>
                  </a:outerShdw>
                </a:effectLst>
                <a:cs typeface="Arial"/>
              </a:rPr>
              <a:t>Learning Industry level practices and methodology in DevOps.</a:t>
            </a:r>
          </a:p>
          <a:p>
            <a:r>
              <a:rPr lang="en-US" sz="2000" dirty="0">
                <a:effectLst>
                  <a:outerShdw blurRad="38100" dist="38100" dir="2700000" algn="tl">
                    <a:srgbClr val="000000">
                      <a:alpha val="43137"/>
                    </a:srgbClr>
                  </a:outerShdw>
                </a:effectLst>
                <a:cs typeface="Arial"/>
              </a:rPr>
              <a:t>Exploring </a:t>
            </a:r>
            <a:r>
              <a:rPr lang="en-US" sz="2000" dirty="0" err="1">
                <a:effectLst>
                  <a:outerShdw blurRad="38100" dist="38100" dir="2700000" algn="tl">
                    <a:srgbClr val="000000">
                      <a:alpha val="43137"/>
                    </a:srgbClr>
                  </a:outerShdw>
                </a:effectLst>
                <a:cs typeface="Arial"/>
              </a:rPr>
              <a:t>DevSecOps</a:t>
            </a:r>
            <a:r>
              <a:rPr lang="en-US" sz="2000" dirty="0">
                <a:effectLst>
                  <a:outerShdw blurRad="38100" dist="38100" dir="2700000" algn="tl">
                    <a:srgbClr val="000000">
                      <a:alpha val="43137"/>
                    </a:srgbClr>
                  </a:outerShdw>
                </a:effectLst>
                <a:cs typeface="Arial"/>
              </a:rPr>
              <a: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1 Week</a:t>
            </a:r>
            <a:endParaRPr lang="en-US" dirty="0"/>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Ongoing</a:t>
            </a:r>
            <a:endParaRPr lang="en-US" dirty="0"/>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Dedication for improvement is what makes you perfect.</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2" descr="45,700+ Rock Cycle Stock Photos, Pictures &amp; Royalty-Free Images - iStock">
            <a:extLst>
              <a:ext uri="{FF2B5EF4-FFF2-40B4-BE49-F238E27FC236}">
                <a16:creationId xmlns:a16="http://schemas.microsoft.com/office/drawing/2014/main" id="{B3A9CAC1-CAC9-2F98-A870-BAA123C97F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1650" y="1831738"/>
            <a:ext cx="5349005"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My learning was fun this week because of the following reasons:</a:t>
            </a:r>
          </a:p>
          <a:p>
            <a:pPr marL="0" indent="0">
              <a:buNone/>
            </a:pPr>
            <a:endParaRPr lang="en-US" sz="2000" dirty="0">
              <a:cs typeface="Arial"/>
            </a:endParaRPr>
          </a:p>
          <a:p>
            <a:r>
              <a:rPr lang="en-US" sz="2000" dirty="0">
                <a:cs typeface="Arial"/>
              </a:rPr>
              <a:t> Fun Projects</a:t>
            </a:r>
          </a:p>
          <a:p>
            <a:r>
              <a:rPr lang="en-US" sz="2000" dirty="0">
                <a:cs typeface="Arial"/>
              </a:rPr>
              <a:t>Assessments and Quiz</a:t>
            </a:r>
          </a:p>
          <a:p>
            <a:r>
              <a:rPr lang="en-US" sz="2000" dirty="0">
                <a:cs typeface="Arial"/>
              </a:rPr>
              <a:t>Fun games and activity</a:t>
            </a:r>
          </a:p>
          <a:p>
            <a:r>
              <a:rPr lang="en-US" sz="2000" dirty="0">
                <a:cs typeface="Arial"/>
              </a:rPr>
              <a:t>Collaboration and bonding</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cs typeface="Arial"/>
            </a:endParaRPr>
          </a:p>
        </p:txBody>
      </p:sp>
      <p:pic>
        <p:nvPicPr>
          <p:cNvPr id="8" name="Picture 7">
            <a:extLst>
              <a:ext uri="{FF2B5EF4-FFF2-40B4-BE49-F238E27FC236}">
                <a16:creationId xmlns:a16="http://schemas.microsoft.com/office/drawing/2014/main" id="{E0512BD9-66D1-BAAE-BC64-E1A844DE55C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171153" y="2110265"/>
            <a:ext cx="3810000" cy="38100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t>Software Testing: Integrate testing early and continuously throughout development to identify defects, reduce risks, and support defect-free software creation.</a:t>
            </a:r>
          </a:p>
          <a:p>
            <a:pPr marL="457200" indent="-457200">
              <a:lnSpc>
                <a:spcPct val="100000"/>
              </a:lnSpc>
            </a:pPr>
            <a:r>
              <a:rPr lang="en-US" sz="1800" dirty="0"/>
              <a:t>Software Testing Life Cycle (STLC): Follow a structured approach from the requirements phase to deployment, ensuring thorough validation at each stage.</a:t>
            </a:r>
          </a:p>
          <a:p>
            <a:pPr marL="457200" indent="-457200">
              <a:lnSpc>
                <a:spcPct val="100000"/>
              </a:lnSpc>
            </a:pPr>
            <a:r>
              <a:rPr lang="en-US" sz="1800" dirty="0"/>
              <a:t>Test Strategy: Develop a clear and efficient plan to meet testing objectives by analyzing requirements, optimizing resource use, and establishing a framework.</a:t>
            </a:r>
          </a:p>
          <a:p>
            <a:pPr marL="457200" indent="-457200">
              <a:lnSpc>
                <a:spcPct val="100000"/>
              </a:lnSpc>
            </a:pPr>
            <a:r>
              <a:rPr lang="en-US" sz="1800" dirty="0"/>
              <a:t>Test Plan: Create a comprehensive document detailing objectives, scope, approach, schedule, and roles to guide testing efforts, estimate resources, and ensure adherence to standards.</a:t>
            </a:r>
          </a:p>
        </p:txBody>
      </p:sp>
    </p:spTree>
    <p:extLst>
      <p:ext uri="{BB962C8B-B14F-4D97-AF65-F5344CB8AC3E}">
        <p14:creationId xmlns:p14="http://schemas.microsoft.com/office/powerpoint/2010/main" val="3865850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2000" dirty="0"/>
              <a:t>Key Learnings</a:t>
            </a:r>
          </a:p>
          <a:p>
            <a:pPr marL="0" indent="0">
              <a:buNone/>
            </a:pPr>
            <a:endParaRPr lang="en-GB" sz="2000" dirty="0"/>
          </a:p>
          <a:p>
            <a:pPr marL="0" indent="0">
              <a:buNone/>
            </a:pPr>
            <a:r>
              <a:rPr lang="en-GB" sz="2000" dirty="0"/>
              <a:t>Software testing is a process aimed at discovering bugs or defects in a software system during its development. </a:t>
            </a:r>
          </a:p>
          <a:p>
            <a:pPr marL="0" indent="0">
              <a:buNone/>
            </a:pPr>
            <a:r>
              <a:rPr lang="en-GB" sz="2000" dirty="0"/>
              <a:t>This helps in identifying deviations from the specified requirements and minimizes the associated risks. </a:t>
            </a:r>
          </a:p>
          <a:p>
            <a:pPr marL="0" indent="0">
              <a:buNone/>
            </a:pPr>
            <a:r>
              <a:rPr lang="en-GB" sz="2000" dirty="0"/>
              <a:t>By pinpointing these defects, it aids developers in creating software that is free from error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descr="Light blue 3D cubes suspended on the air with a dark blue 3D cube on the surface">
            <a:extLst>
              <a:ext uri="{FF2B5EF4-FFF2-40B4-BE49-F238E27FC236}">
                <a16:creationId xmlns:a16="http://schemas.microsoft.com/office/drawing/2014/main" id="{D9813156-EEF4-A78A-D6C5-AA2A0171AE00}"/>
              </a:ext>
            </a:extLst>
          </p:cNvPr>
          <p:cNvPicPr>
            <a:picLocks noChangeAspect="1"/>
          </p:cNvPicPr>
          <p:nvPr/>
        </p:nvPicPr>
        <p:blipFill>
          <a:blip r:embed="rId7">
            <a:extLst>
              <a:ext uri="{28A0092B-C50C-407E-A947-70E740481C1C}">
                <a14:useLocalDpi xmlns:a14="http://schemas.microsoft.com/office/drawing/2010/main" val="0"/>
              </a:ext>
            </a:extLst>
          </a:blip>
          <a:srcRect r="35257"/>
          <a:stretch/>
        </p:blipFill>
        <p:spPr>
          <a:xfrm flipH="1">
            <a:off x="6736080" y="1860993"/>
            <a:ext cx="4124960" cy="358406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r>
              <a:rPr lang="en-GB" sz="2000" dirty="0"/>
              <a:t>The STLC specifies the different phases in the software testing process.</a:t>
            </a:r>
          </a:p>
          <a:p>
            <a:r>
              <a:rPr lang="en-GB" sz="2000" dirty="0"/>
              <a:t>Generally, software testing begins with the requirements phase.</a:t>
            </a:r>
          </a:p>
          <a:p>
            <a:r>
              <a:rPr lang="en-GB" sz="2000" dirty="0"/>
              <a:t>It concludes with the deployment phas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093AB479-F1E4-B2D8-2068-72F9B9677369}"/>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123826" y="1860993"/>
            <a:ext cx="4038600" cy="415290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GB" sz="2000" dirty="0"/>
              <a:t>A brief outline on achieving testing objectives efficiently within a limited timeframe using optimal resources.</a:t>
            </a:r>
          </a:p>
          <a:p>
            <a:r>
              <a:rPr lang="en-GB" sz="2000" dirty="0"/>
              <a:t>Set up the framework for testing the system.</a:t>
            </a:r>
          </a:p>
          <a:p>
            <a:r>
              <a:rPr lang="en-GB" sz="2000" dirty="0"/>
              <a:t>Analyse the requirements.</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6DA811A3-F0E7-02BF-2CBC-FA4B5ABECD5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0408" t="3457" r="27093" b="-1"/>
          <a:stretch/>
        </p:blipFill>
        <p:spPr>
          <a:xfrm>
            <a:off x="7147339" y="1970061"/>
            <a:ext cx="3857625" cy="3724275"/>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Test Plan</a:t>
            </a:r>
          </a:p>
          <a:p>
            <a:pPr>
              <a:buFontTx/>
              <a:buChar char="-"/>
            </a:pPr>
            <a:r>
              <a:rPr lang="en-GB" sz="2000" dirty="0"/>
              <a:t>A document outlining the objectives, scope of testing, approach, schedule, and roles and responsibilities.</a:t>
            </a:r>
          </a:p>
          <a:p>
            <a:pPr>
              <a:buFontTx/>
              <a:buChar char="-"/>
            </a:pPr>
            <a:r>
              <a:rPr lang="en-GB" sz="2000" dirty="0"/>
              <a:t>Develops the test plan deliverable according to established standards.</a:t>
            </a:r>
          </a:p>
          <a:p>
            <a:pPr>
              <a:buFontTx/>
              <a:buChar char="-"/>
            </a:pPr>
            <a:r>
              <a:rPr lang="en-GB" sz="2000" dirty="0"/>
              <a:t>Estimates the test effort required.</a:t>
            </a:r>
          </a:p>
          <a:p>
            <a:pPr>
              <a:buFontTx/>
              <a:buChar char="-"/>
            </a:pPr>
            <a:r>
              <a:rPr lang="en-GB" sz="2000" dirty="0"/>
              <a:t>Defines roles and responsibilities.</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descr="What is TEST PLAN in software testing? What does it have in its bag ...">
            <a:extLst>
              <a:ext uri="{FF2B5EF4-FFF2-40B4-BE49-F238E27FC236}">
                <a16:creationId xmlns:a16="http://schemas.microsoft.com/office/drawing/2014/main" id="{000F3F4D-5940-B3CA-3ABC-49F30264095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4656" y="2624033"/>
            <a:ext cx="4522992" cy="255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3417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b="1" dirty="0"/>
              <a:t>How I feel Shell implements this learning</a:t>
            </a:r>
          </a:p>
          <a:p>
            <a:pPr marL="0" indent="0">
              <a:buNone/>
            </a:pPr>
            <a:endParaRPr lang="en-US" sz="2000" b="1" dirty="0"/>
          </a:p>
          <a:p>
            <a:pPr marL="0" indent="0">
              <a:buNone/>
            </a:pPr>
            <a:r>
              <a:rPr lang="en-GB" sz="2000" dirty="0"/>
              <a:t>Shell ensures effective software testing by incorporating testing early in the development process, utilizing automated tools, and keeping robust defect-tracking systems. This strategy allows for the quick identification and resolution of defects, minimizes risks, and aids in creating defect-free software.</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Shell Logo, Shell Symbol, Meaning, History and Evolution">
            <a:extLst>
              <a:ext uri="{FF2B5EF4-FFF2-40B4-BE49-F238E27FC236}">
                <a16:creationId xmlns:a16="http://schemas.microsoft.com/office/drawing/2014/main" id="{501BC748-7A3B-0CB7-75C2-6F4BB33A1AA0}"/>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3971512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012</TotalTime>
  <Words>962</Words>
  <Application>Microsoft Office PowerPoint</Application>
  <PresentationFormat>Widescreen</PresentationFormat>
  <Paragraphs>113</Paragraphs>
  <Slides>2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Calibri</vt:lpstr>
      <vt:lpstr>Wingding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PowerPoint Presentation</vt:lpstr>
      <vt:lpstr>Learning 1 | Relevance for Shell</vt:lpstr>
      <vt:lpstr>Learning 2 | Relevance for Shell</vt:lpstr>
      <vt:lpstr>Learning 3 | Relevance for Shell</vt:lpstr>
      <vt:lpstr>Learning 4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Kumar, Mahendra SBOBNG-PTIV/IB</cp:lastModifiedBy>
  <cp:revision>501</cp:revision>
  <dcterms:created xsi:type="dcterms:W3CDTF">2022-01-18T12:35:56Z</dcterms:created>
  <dcterms:modified xsi:type="dcterms:W3CDTF">2024-09-06T16:4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